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57" r:id="rId3"/>
    <p:sldId id="267" r:id="rId4"/>
    <p:sldId id="268" r:id="rId5"/>
    <p:sldId id="270" r:id="rId6"/>
    <p:sldId id="271" r:id="rId7"/>
    <p:sldId id="272" r:id="rId8"/>
    <p:sldId id="273" r:id="rId9"/>
    <p:sldId id="274" r:id="rId10"/>
    <p:sldId id="275" r:id="rId11"/>
    <p:sldId id="276" r:id="rId12"/>
    <p:sldId id="277" r:id="rId13"/>
    <p:sldId id="278" r:id="rId14"/>
    <p:sldId id="279" r:id="rId15"/>
    <p:sldId id="258" r:id="rId1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4" autoAdjust="0"/>
    <p:restoredTop sz="94660"/>
  </p:normalViewPr>
  <p:slideViewPr>
    <p:cSldViewPr snapToGrid="0">
      <p:cViewPr varScale="1">
        <p:scale>
          <a:sx n="100" d="100"/>
          <a:sy n="100" d="100"/>
        </p:scale>
        <p:origin x="78" y="11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l-GR"/>
              <a:t>Κάντε κλικ για να επεξεργαστείτε τον υπότιτλο του υποδείγματος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Πανοραμική 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Τίτλος και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Εισαγωγικά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/>
          </p:nvPr>
        </p:nvSpPr>
        <p:spPr>
          <a:xfrm>
            <a:off x="1930400" y="3771174"/>
            <a:ext cx="7279649" cy="342174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0" indent="0">
              <a:buNone/>
            </a:pPr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Κάρτα ονόματ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στήλε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Στήλη 3 εικόνω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3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3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4AAD347D-5ACD-4C99-B74B-A9C85AD731AF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68" r:id="rId9"/>
    <p:sldLayoutId id="2147483667" r:id="rId10"/>
    <p:sldLayoutId id="2147483661" r:id="rId11"/>
    <p:sldLayoutId id="2147483664" r:id="rId12"/>
    <p:sldLayoutId id="2147483662" r:id="rId13"/>
    <p:sldLayoutId id="2147483669" r:id="rId14"/>
    <p:sldLayoutId id="2147483670" r:id="rId15"/>
    <p:sldLayoutId id="2147483658" r:id="rId16"/>
    <p:sldLayoutId id="2147483659" r:id="rId17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06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18.png"/><Relationship Id="rId4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0" lang="el-GR" sz="7200" b="0" i="0" u="none" strike="noStrike" kern="1200" cap="none" spc="0" normalizeH="0" baseline="0" noProof="0" dirty="0">
                <a:ln>
                  <a:noFill/>
                </a:ln>
                <a:solidFill>
                  <a:srgbClr val="EBEBEB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Οδηγός για το</a:t>
            </a:r>
            <a:r>
              <a:rPr kumimoji="0" lang="en-US" sz="7200" b="0" i="0" u="none" strike="noStrike" kern="1200" cap="none" spc="0" normalizeH="0" baseline="0" noProof="0" dirty="0">
                <a:ln>
                  <a:noFill/>
                </a:ln>
                <a:solidFill>
                  <a:srgbClr val="EBEBEB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 </a:t>
            </a:r>
            <a:r>
              <a:rPr kumimoji="0" lang="en-US" sz="7200" b="0" i="0" u="none" strike="noStrike" kern="1200" cap="none" spc="0" normalizeH="0" baseline="0" noProof="0" dirty="0" err="1">
                <a:ln>
                  <a:noFill/>
                </a:ln>
                <a:solidFill>
                  <a:srgbClr val="EBEBEB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students.hmu</a:t>
            </a:r>
            <a:br>
              <a:rPr kumimoji="0" lang="el-GR" sz="7200" b="0" i="0" u="none" strike="noStrike" kern="1200" cap="none" spc="0" normalizeH="0" baseline="0" noProof="0" dirty="0">
                <a:ln>
                  <a:noFill/>
                </a:ln>
                <a:solidFill>
                  <a:srgbClr val="EBEBEB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</a:br>
            <a:r>
              <a:rPr kumimoji="0" lang="el-GR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EBEBEB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Ζουρμπάκης</a:t>
            </a: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EBEBEB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 Αλκίνοος/ Διδακτορικός φοιτητής</a:t>
            </a:r>
            <a:endParaRPr lang="el-GR" dirty="0"/>
          </a:p>
        </p:txBody>
      </p:sp>
      <p:sp>
        <p:nvSpPr>
          <p:cNvPr id="3" name="Υπότιτλος 2"/>
          <p:cNvSpPr>
            <a:spLocks noGrp="1"/>
          </p:cNvSpPr>
          <p:nvPr>
            <p:ph type="subTitle" idx="1"/>
          </p:nvPr>
        </p:nvSpPr>
        <p:spPr>
          <a:xfrm>
            <a:off x="1154955" y="5071693"/>
            <a:ext cx="8825658" cy="861420"/>
          </a:xfrm>
        </p:spPr>
        <p:txBody>
          <a:bodyPr>
            <a:normAutofit/>
          </a:bodyPr>
          <a:lstStyle/>
          <a:p>
            <a:r>
              <a:rPr lang="el-GR" sz="1800" dirty="0" err="1"/>
              <a:t>Ελληνικο</a:t>
            </a:r>
            <a:r>
              <a:rPr lang="el-GR" sz="1800" dirty="0"/>
              <a:t> </a:t>
            </a:r>
            <a:r>
              <a:rPr lang="el-GR" sz="1800" dirty="0" err="1"/>
              <a:t>μεσογειακο</a:t>
            </a:r>
            <a:r>
              <a:rPr lang="el-GR" sz="1800" dirty="0"/>
              <a:t> </a:t>
            </a:r>
            <a:r>
              <a:rPr lang="el-GR" sz="1800" dirty="0" err="1"/>
              <a:t>πανεπιστημιο</a:t>
            </a:r>
            <a:endParaRPr lang="el-GR" sz="1800" dirty="0"/>
          </a:p>
          <a:p>
            <a:r>
              <a:rPr lang="el-GR" sz="1800" dirty="0" err="1"/>
              <a:t>Κεντρο</a:t>
            </a:r>
            <a:r>
              <a:rPr lang="el-GR" sz="1800" dirty="0"/>
              <a:t> </a:t>
            </a:r>
            <a:r>
              <a:rPr lang="el-GR" sz="1800" dirty="0" err="1"/>
              <a:t>υποστηριξησ</a:t>
            </a:r>
            <a:r>
              <a:rPr lang="el-GR" sz="1800" dirty="0"/>
              <a:t> </a:t>
            </a:r>
            <a:r>
              <a:rPr lang="el-GR" sz="1800" dirty="0" err="1"/>
              <a:t>διδασκαλιασ</a:t>
            </a:r>
            <a:r>
              <a:rPr lang="el-GR" sz="1800" dirty="0"/>
              <a:t> και </a:t>
            </a:r>
            <a:r>
              <a:rPr lang="el-GR" sz="1800" dirty="0" err="1"/>
              <a:t>μαθησησ</a:t>
            </a:r>
            <a:endParaRPr lang="el-GR" sz="1800" dirty="0"/>
          </a:p>
        </p:txBody>
      </p:sp>
      <p:sp>
        <p:nvSpPr>
          <p:cNvPr id="4" name="Ορθογώνιο 3"/>
          <p:cNvSpPr/>
          <p:nvPr/>
        </p:nvSpPr>
        <p:spPr>
          <a:xfrm>
            <a:off x="1154955" y="5849748"/>
            <a:ext cx="27927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https://kedima.hmu.gr/</a:t>
            </a:r>
            <a:endParaRPr lang="el-GR" dirty="0"/>
          </a:p>
        </p:txBody>
      </p:sp>
      <p:pic>
        <p:nvPicPr>
          <p:cNvPr id="1026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Εικόνα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45179" y="5472071"/>
            <a:ext cx="3246249" cy="1124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814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l-GR" sz="3600" dirty="0"/>
              <a:t>Δήλωση μαθημάτων-Επεξεργασία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id="{6F246C55-BFC8-A131-2459-E464509AD0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7540" y="1753644"/>
            <a:ext cx="10316917" cy="4551906"/>
          </a:xfrm>
          <a:prstGeom prst="rect">
            <a:avLst/>
          </a:prstGeom>
        </p:spPr>
      </p:pic>
      <p:sp>
        <p:nvSpPr>
          <p:cNvPr id="8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F499683-5850-D285-8DA0-C3CC1BE8414A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11109232" y="1896564"/>
            <a:ext cx="654057" cy="547417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99483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 fontScale="92500" lnSpcReduction="20000"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E5155">
                  <a:lumMod val="40000"/>
                  <a:lumOff val="60000"/>
                </a:srgbClr>
              </a:buClr>
              <a:buSzPct val="80000"/>
              <a:buFont typeface="Wingdings 3" charset="2"/>
              <a:buNone/>
              <a:tabLst/>
              <a:defRPr/>
            </a:pPr>
            <a:r>
              <a:rPr kumimoji="0" lang="el-GR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Δήλωση μαθημάτων-Επιλογή μαθημάτων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id="{A5DF07E0-943D-3EDB-96D5-05911AF3D6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7540" y="1824903"/>
            <a:ext cx="10316918" cy="4551906"/>
          </a:xfrm>
          <a:prstGeom prst="rect">
            <a:avLst/>
          </a:prstGeom>
        </p:spPr>
      </p:pic>
      <p:sp>
        <p:nvSpPr>
          <p:cNvPr id="8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AAE4DB5-6667-65C1-425D-3C0DD6D05458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10964006" y="3429000"/>
            <a:ext cx="654057" cy="547417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01876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 fontScale="92500" lnSpcReduction="20000"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E5155">
                  <a:lumMod val="40000"/>
                  <a:lumOff val="60000"/>
                </a:srgbClr>
              </a:buClr>
              <a:buSzPct val="80000"/>
              <a:buFont typeface="Wingdings 3" charset="2"/>
              <a:buNone/>
              <a:tabLst/>
              <a:defRPr/>
            </a:pPr>
            <a:r>
              <a:rPr kumimoji="0" lang="el-GR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Δήλωση μαθημάτων-Επιλογή μαθημάτων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6" name="Εικόνα 5">
            <a:extLst>
              <a:ext uri="{FF2B5EF4-FFF2-40B4-BE49-F238E27FC236}">
                <a16:creationId xmlns:a16="http://schemas.microsoft.com/office/drawing/2014/main" id="{AD53C3B0-1DF2-DB60-F75A-97F329C751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7540" y="1824903"/>
            <a:ext cx="10316918" cy="4551906"/>
          </a:xfrm>
          <a:prstGeom prst="rect">
            <a:avLst/>
          </a:prstGeom>
        </p:spPr>
      </p:pic>
      <p:pic>
        <p:nvPicPr>
          <p:cNvPr id="7" name="Εικόνα 6">
            <a:extLst>
              <a:ext uri="{FF2B5EF4-FFF2-40B4-BE49-F238E27FC236}">
                <a16:creationId xmlns:a16="http://schemas.microsoft.com/office/drawing/2014/main" id="{904DE491-3428-C985-751D-04C05AAC54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7540" y="1824903"/>
            <a:ext cx="10316918" cy="4551906"/>
          </a:xfrm>
          <a:prstGeom prst="rect">
            <a:avLst/>
          </a:prstGeom>
        </p:spPr>
      </p:pic>
      <p:sp>
        <p:nvSpPr>
          <p:cNvPr id="8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9FB1380-2557-2F69-2DF1-B3E21F8BF660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10799338" y="3279731"/>
            <a:ext cx="654057" cy="547417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21888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kumimoji="0" lang="el-GR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Δήλωση μαθημάτων-Υποβολή</a:t>
            </a:r>
            <a:endParaRPr lang="el-GR" sz="3600" dirty="0"/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11" name="Εικόνα 10">
            <a:extLst>
              <a:ext uri="{FF2B5EF4-FFF2-40B4-BE49-F238E27FC236}">
                <a16:creationId xmlns:a16="http://schemas.microsoft.com/office/drawing/2014/main" id="{CF88EBD6-0DD7-14A8-A822-D69E765E92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419" y="1824903"/>
            <a:ext cx="10304209" cy="4551906"/>
          </a:xfrm>
          <a:prstGeom prst="rect">
            <a:avLst/>
          </a:prstGeom>
        </p:spPr>
      </p:pic>
      <p:sp>
        <p:nvSpPr>
          <p:cNvPr id="12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F2B9934-32FA-1CA1-16CA-2BA25A581CF9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10964006" y="4410208"/>
            <a:ext cx="654057" cy="547417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83280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1950244" y="2331473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l-GR" sz="3600" dirty="0">
                <a:solidFill>
                  <a:prstClr val="white"/>
                </a:solidFill>
                <a:latin typeface="Century Gothic" panose="020B0502020202020204"/>
              </a:rPr>
              <a:t>Σας ευχαριστώ πολύ!</a:t>
            </a:r>
            <a:endParaRPr lang="el-GR" sz="3600" dirty="0"/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val="38617607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Εικόνα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76874" y="4882391"/>
            <a:ext cx="3629025" cy="1257300"/>
          </a:xfrm>
          <a:prstGeom prst="rect">
            <a:avLst/>
          </a:prstGeom>
        </p:spPr>
      </p:pic>
      <p:sp>
        <p:nvSpPr>
          <p:cNvPr id="5" name="Ορθογώνιο 4"/>
          <p:cNvSpPr/>
          <p:nvPr/>
        </p:nvSpPr>
        <p:spPr>
          <a:xfrm>
            <a:off x="768264" y="4882391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dirty="0"/>
              <a:t>Το σεμινάριο υλοποιείται στα πλαίσια της Πράξης «Γραφείο υποστήριξης της διδασκαλίας και μάθησης στο Ελληνικό Μεσογειακό Πανεπιστήμιο» με κωδικό ΟΠΣ (MIS) 5162371 με τη Συγχρηματοδότησης της Ευρωπαϊκής Ένωσης</a:t>
            </a:r>
          </a:p>
        </p:txBody>
      </p:sp>
      <p:pic>
        <p:nvPicPr>
          <p:cNvPr id="6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Εικόνα 1">
            <a:extLst>
              <a:ext uri="{FF2B5EF4-FFF2-40B4-BE49-F238E27FC236}">
                <a16:creationId xmlns:a16="http://schemas.microsoft.com/office/drawing/2014/main" id="{9676C934-F1BC-AD5E-D623-B9CB2DC6B2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8264" y="1219200"/>
            <a:ext cx="6183146" cy="2581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4886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3600" dirty="0"/>
              <a:t>e-</a:t>
            </a:r>
            <a:r>
              <a:rPr lang="el-GR" sz="3600" dirty="0"/>
              <a:t>Γραμματεία (</a:t>
            </a:r>
            <a:r>
              <a:rPr lang="en-US" sz="3600" dirty="0"/>
              <a:t>students.hmu.gr</a:t>
            </a:r>
            <a:r>
              <a:rPr lang="el-GR" sz="3600" dirty="0"/>
              <a:t>)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id="{D808845B-A77E-DA3D-62CB-65CCFFE8A7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7539" y="1893776"/>
            <a:ext cx="10316919" cy="4306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8327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l-GR" sz="3600" dirty="0"/>
              <a:t>Είσοδος στο </a:t>
            </a:r>
            <a:r>
              <a:rPr lang="en-US" sz="3600" dirty="0"/>
              <a:t>students.hmu.gr</a:t>
            </a:r>
            <a:endParaRPr lang="el-GR" sz="3600" dirty="0"/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9" name="Εικόνα 8">
            <a:extLst>
              <a:ext uri="{FF2B5EF4-FFF2-40B4-BE49-F238E27FC236}">
                <a16:creationId xmlns:a16="http://schemas.microsoft.com/office/drawing/2014/main" id="{70676C5C-A632-8A70-4C77-5F0860D40B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0065" y="1911313"/>
            <a:ext cx="10316918" cy="4232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571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l-GR" sz="3600" dirty="0"/>
              <a:t>Κεντρική σελίδα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6" name="Εικόνα 5">
            <a:extLst>
              <a:ext uri="{FF2B5EF4-FFF2-40B4-BE49-F238E27FC236}">
                <a16:creationId xmlns:a16="http://schemas.microsoft.com/office/drawing/2014/main" id="{AD53C3B0-1DF2-DB60-F75A-97F329C751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7540" y="1824903"/>
            <a:ext cx="10316918" cy="4551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6603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l-GR" sz="3600" dirty="0"/>
              <a:t>Εξυπηρέτηση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id="{A783A56E-1320-BEF4-6CEA-356936D67D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8569" y="1753644"/>
            <a:ext cx="10314860" cy="4551906"/>
          </a:xfrm>
          <a:prstGeom prst="rect">
            <a:avLst/>
          </a:prstGeom>
        </p:spPr>
      </p:pic>
      <p:sp>
        <p:nvSpPr>
          <p:cNvPr id="8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6E31066-3F53-8EBE-80F1-7C9884C4410F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 rot="16200000">
            <a:off x="9784155" y="1224646"/>
            <a:ext cx="654057" cy="547417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11404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l-GR" sz="3600" dirty="0"/>
              <a:t>Αιτήσεις προς τη γραμματεία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id="{E6491577-9075-E4F9-951A-4F672DAE38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5018" y="1853184"/>
            <a:ext cx="10316918" cy="4619360"/>
          </a:xfrm>
          <a:prstGeom prst="rect">
            <a:avLst/>
          </a:prstGeom>
        </p:spPr>
      </p:pic>
      <p:sp>
        <p:nvSpPr>
          <p:cNvPr id="8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C1E13DF-F7C1-BC85-7E50-0C47A8F2BB40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 rot="16200000">
            <a:off x="2883483" y="1529706"/>
            <a:ext cx="654057" cy="547417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04742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 fontScale="92500" lnSpcReduction="20000"/>
          </a:bodyPr>
          <a:lstStyle/>
          <a:p>
            <a:pPr marL="0" indent="0" algn="ctr">
              <a:buNone/>
            </a:pPr>
            <a:r>
              <a:rPr lang="el-GR" sz="3600" dirty="0"/>
              <a:t>Νέα αίτηση-Είδη πιστοποιητικών και αιτήσεων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id="{E57DA438-2B4D-F687-756B-9CC737F207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7540" y="1753644"/>
            <a:ext cx="10316918" cy="4551905"/>
          </a:xfrm>
          <a:prstGeom prst="rect">
            <a:avLst/>
          </a:prstGeom>
        </p:spPr>
      </p:pic>
      <p:sp>
        <p:nvSpPr>
          <p:cNvPr id="8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CA00C00-EDC9-C998-1EE5-EF5E2C575120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10600401" y="2746209"/>
            <a:ext cx="654057" cy="547417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47041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l-GR" sz="3600" dirty="0"/>
              <a:t>Αίτηση- Βεβαίωση σπουδών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id="{9F67C2E0-5B99-4A5B-29A4-252E59CC37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7540" y="1854261"/>
            <a:ext cx="10316918" cy="4593807"/>
          </a:xfrm>
          <a:prstGeom prst="rect">
            <a:avLst/>
          </a:prstGeom>
        </p:spPr>
      </p:pic>
      <p:sp>
        <p:nvSpPr>
          <p:cNvPr id="8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5EDDA17-B68B-AD46-D4A4-8753FE780241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 rot="5400000">
            <a:off x="5768970" y="3877455"/>
            <a:ext cx="654057" cy="547417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88708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2080815" y="116192"/>
            <a:ext cx="8030369" cy="9126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l-GR" sz="3600" dirty="0"/>
              <a:t>Δηλώσεις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id="{EF95C33F-5793-08DA-A82D-034F2AF31D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4543" y="1824903"/>
            <a:ext cx="10316918" cy="4551906"/>
          </a:xfrm>
          <a:prstGeom prst="rect">
            <a:avLst/>
          </a:prstGeom>
        </p:spPr>
      </p:pic>
      <p:sp>
        <p:nvSpPr>
          <p:cNvPr id="8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79C5B82-0EDA-F8B1-C903-70AB2599F0B3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 rot="16200000">
            <a:off x="8833179" y="1346566"/>
            <a:ext cx="654057" cy="547417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16549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Ιόν">
  <a:themeElements>
    <a:clrScheme name="Ion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B0151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4849A"/>
      </a:accent5>
      <a:accent6>
        <a:srgbClr val="9E5E9B"/>
      </a:accent6>
      <a:hlink>
        <a:srgbClr val="58C1BA"/>
      </a:hlink>
      <a:folHlink>
        <a:srgbClr val="9DFFCB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Κεδιμα" id="{C0C173B8-8EA5-4AB0-9F78-A9E09A3D40A5}" vid="{88EB095C-1C72-4C38-A9CC-6B0D7934CE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</TotalTime>
  <Words>223</Words>
  <Application>Microsoft Office PowerPoint</Application>
  <PresentationFormat>Ευρεία οθόνη</PresentationFormat>
  <Paragraphs>31</Paragraphs>
  <Slides>15</Slides>
  <Notes>0</Notes>
  <HiddenSlides>0</HiddenSlides>
  <MMClips>0</MMClips>
  <ScaleCrop>false</ScaleCrop>
  <HeadingPairs>
    <vt:vector size="6" baseType="variant">
      <vt:variant>
        <vt:lpstr>Γραμματοσειρές που χρησιμοποιούνται</vt:lpstr>
      </vt:variant>
      <vt:variant>
        <vt:i4>4</vt:i4>
      </vt:variant>
      <vt:variant>
        <vt:lpstr>Θέμα</vt:lpstr>
      </vt:variant>
      <vt:variant>
        <vt:i4>1</vt:i4>
      </vt:variant>
      <vt:variant>
        <vt:lpstr>Τίτλοι διαφανειών</vt:lpstr>
      </vt:variant>
      <vt:variant>
        <vt:i4>15</vt:i4>
      </vt:variant>
    </vt:vector>
  </HeadingPairs>
  <TitlesOfParts>
    <vt:vector size="20" baseType="lpstr">
      <vt:lpstr>Arial</vt:lpstr>
      <vt:lpstr>Calibri</vt:lpstr>
      <vt:lpstr>Century Gothic</vt:lpstr>
      <vt:lpstr>Wingdings 3</vt:lpstr>
      <vt:lpstr>Ιόν</vt:lpstr>
      <vt:lpstr>Οδηγός για το students.hmu Ζουρμπάκης Αλκίνοος/ Διδακτορικός φοιτητής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Τιτλός σεμιναρίου όνομα διδάσκοντων / ιδιότητα προαιρετικά</dc:title>
  <dc:creator>Athanasios Malamos</dc:creator>
  <cp:lastModifiedBy>Alkis zourmpakis</cp:lastModifiedBy>
  <cp:revision>10</cp:revision>
  <dcterms:created xsi:type="dcterms:W3CDTF">2023-09-21T10:16:00Z</dcterms:created>
  <dcterms:modified xsi:type="dcterms:W3CDTF">2023-09-27T14:36:58Z</dcterms:modified>
</cp:coreProperties>
</file>